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7"/>
  </p:notesMasterIdLst>
  <p:handoutMasterIdLst>
    <p:handoutMasterId r:id="rId8"/>
  </p:handoutMasterIdLst>
  <p:sldIdLst>
    <p:sldId id="346" r:id="rId2"/>
    <p:sldId id="347" r:id="rId3"/>
    <p:sldId id="343" r:id="rId4"/>
    <p:sldId id="344" r:id="rId5"/>
    <p:sldId id="345" r:id="rId6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346"/>
            <p14:sldId id="347"/>
            <p14:sldId id="343"/>
            <p14:sldId id="344"/>
            <p14:sldId id="34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02" autoAdjust="0"/>
    <p:restoredTop sz="86627" autoAdjust="0"/>
  </p:normalViewPr>
  <p:slideViewPr>
    <p:cSldViewPr snapToObjects="1" showGuides="1">
      <p:cViewPr>
        <p:scale>
          <a:sx n="80" d="100"/>
          <a:sy n="80" d="100"/>
        </p:scale>
        <p:origin x="-1282" y="-197"/>
      </p:cViewPr>
      <p:guideLst>
        <p:guide orient="horz" pos="2160"/>
        <p:guide orient="horz" pos="3339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fld id="{9B664CBC-15C9-419C-AEB7-167BC438E185}" type="datetime1">
              <a:rPr lang="de-DE" smtClean="0"/>
              <a:t>15.11.2012</a:t>
            </a:fld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507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fld id="{2494B2B8-1469-4AED-809B-3198F81F7144}" type="datetime1">
              <a:rPr lang="de-DE" smtClean="0"/>
              <a:t>15.11.2012</a:t>
            </a:fld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9938"/>
            <a:ext cx="51149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00" y="4861156"/>
            <a:ext cx="5680103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507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1" tIns="47381" rIns="94761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717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DB2877B-B42C-4008-85F6-731D5B04342F}" type="datetime1">
              <a:rPr lang="de-DE" smtClean="0"/>
              <a:t>15.11.2012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A859317-F8E0-4391-80D7-7DC94CFB279A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819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A8924A7-1063-4F95-93D0-07679BEE5940}" type="datetime1">
              <a:rPr lang="de-DE" smtClean="0"/>
              <a:t>15.11.2012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A859317-F8E0-4391-80D7-7DC94CFB279A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049338" y="801688"/>
            <a:ext cx="5057775" cy="37941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1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30274" y="4887085"/>
            <a:ext cx="5223844" cy="45953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0A98B7F-DE8B-41D4-AC45-D4D7A2E3BA5E}" type="datetime1">
              <a:rPr lang="de-DE" smtClean="0"/>
              <a:t>15.11.2012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A859317-F8E0-4391-80D7-7DC94CFB279A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F22FF20-59FB-44B4-BA50-ADA6BE939219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985A5027-7CFD-4227-9350-7AD002AE1FFE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BA65FAD-DE07-4FC2-B83F-AB8C1968D510}" type="datetime1">
              <a:rPr lang="de-DE" smtClean="0"/>
              <a:t>15.11.20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E5CE1FE8-70C0-439A-A9BD-DC66D56B6FAB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76026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4E6CDFD-698B-45D4-B4E8-D21A858A8E4E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7E052859-F992-4E21-815B-939AEF5B6F13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AEACF68-2180-440F-93DC-80BBA9091B36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899E022-2123-404B-8C3B-2BB1EE3DA87C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FE97153-D4DB-4E3E-9CB7-08E22A030CF6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Power Point Master Faktor Zehn 2012</a:t>
            </a:r>
            <a:endParaRPr lang="de-DE" noProof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BBC7D40-2FBF-4D5B-BCEA-DF7A63A20AE8}" type="datetime1">
              <a:rPr lang="de-DE" smtClean="0"/>
              <a:t>15.11.2012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A573FCA3-1FD1-4F4C-BD0A-8DD01AE932DD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E705783-4EA5-47D3-84A6-BF4E6B635FEC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 – A ConVista Company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D699D23-A573-4F31-823D-C11A1E89488B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76300" y="6678000"/>
            <a:ext cx="28956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Power Point Master Faktor Zehn 2012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  <p:sldLayoutId id="2147483706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7677363"/>
              </p:ext>
            </p:extLst>
          </p:nvPr>
        </p:nvGraphicFramePr>
        <p:xfrm>
          <a:off x="268753" y="1484784"/>
          <a:ext cx="8623727" cy="488928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3.1 Projekt einrichten, erste Klasse anle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990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dirty="0" smtClean="0"/>
                        <a:t>3.2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88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00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5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Verwendung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ufzählung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675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6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8 Customizing der Produktdefinitionsperspektiv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538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9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dirty="0" smtClean="0"/>
                        <a:t>Plausibilisier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359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0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uchoptione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&amp; Views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0"/>
                      </a:schemeClr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1 Testunterstütz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A25048-4BEA-4474-9105-869F84EC8482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924254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7211983"/>
              </p:ext>
            </p:extLst>
          </p:nvPr>
        </p:nvGraphicFramePr>
        <p:xfrm>
          <a:off x="268753" y="1484784"/>
          <a:ext cx="8623727" cy="4889280"/>
        </p:xfrm>
        <a:graphic>
          <a:graphicData uri="http://schemas.openxmlformats.org/drawingml/2006/table">
            <a:tbl>
              <a:tblPr/>
              <a:tblGrid>
                <a:gridCol w="8623727"/>
              </a:tblGrid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b="0" dirty="0" smtClean="0"/>
                        <a:t>3.1 Projekt einrichten, erste Klasse anle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990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1200" dirty="0" smtClean="0"/>
                        <a:t>3.2 Modellierung der Vertrags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3 Modellierung der Produktseit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88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4 Verwendung von Tabell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854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600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5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Verwendung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ufzählungen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6752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0" dirty="0" smtClean="0"/>
                        <a:t>3.6 Verwendung von Formel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b="1" dirty="0" smtClean="0"/>
                        <a:t>3.7 Kopieren von Produkt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8 Customizing der Produktdefinitionsperspektive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5384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200" dirty="0" smtClean="0"/>
                        <a:t>3.9</a:t>
                      </a:r>
                      <a:r>
                        <a:rPr lang="de-DE" sz="1200" baseline="0" dirty="0" smtClean="0"/>
                        <a:t> </a:t>
                      </a:r>
                      <a:r>
                        <a:rPr lang="de-DE" sz="1200" dirty="0" smtClean="0"/>
                        <a:t>Plausibilisierungen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4359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0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uchoptione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&amp; Views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0"/>
                      </a:schemeClr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11 Testunterstützung</a:t>
                      </a: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Datumsplatzhalter 5"/>
          <p:cNvSpPr>
            <a:spLocks noGrp="1"/>
          </p:cNvSpPr>
          <p:nvPr>
            <p:ph type="dt" sz="half" idx="4294967295"/>
          </p:nvPr>
        </p:nvSpPr>
        <p:spPr>
          <a:xfrm>
            <a:off x="251520" y="6678000"/>
            <a:ext cx="1728192" cy="180000"/>
          </a:xfrm>
          <a:prstGeom prst="rect">
            <a:avLst/>
          </a:prstGeom>
        </p:spPr>
        <p:txBody>
          <a:bodyPr/>
          <a:lstStyle/>
          <a:p>
            <a:fld id="{3027ED48-B5AB-45CD-AA9B-8C72E5EA6DF3}" type="datetime1">
              <a:rPr lang="de-DE" sz="900" smtClean="0"/>
              <a:t>15.11.2012</a:t>
            </a:fld>
            <a:endParaRPr lang="de-DE" sz="90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/>
          <a:lstStyle/>
          <a:p>
            <a:fld id="{21FBF85A-D7A6-488B-8C2B-F7E0D6843921}" type="slidenum">
              <a:rPr lang="de-DE" sz="900" smtClean="0"/>
              <a:pPr/>
              <a:t>2</a:t>
            </a:fld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62163985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Kopieren von Produkte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2000" y="1376772"/>
            <a:ext cx="7280275" cy="4246563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Typischerweise sind neue Generationen eines Versicherungsproduktes ähnlich der bisherigen Generation. 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Vorgehensweise, um eine neue Generation eines Versicherungsproduktes zu erzeugen, ist das bestehende zu kopieren und entsprechende Änderungen vorzunehme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e neuen Generation kann neue Produktbausteine enthalten. Z.B. neue Deckungsarten, Zuschläge oder Nachlässe. Diese wiederum können ähnlich bereits bestehender Produktbausteine sein.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nterstützung in Faktor-IPS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izard „Neue Generation erzeugen“: Kopieren von Produktbausteinen mit Angabe einer neuen Generationsversion</a:t>
            </a:r>
          </a:p>
          <a:p>
            <a:pPr marL="656854" lvl="1">
              <a:buSzPct val="75000"/>
              <a:buFont typeface="Symbol" charset="2"/>
              <a:buChar char="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izard „Produkt kopieren“: Kopieren von Produktbausteinen mit einem Suchen/Ersetzen Muster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749590-2062-4CD9-B26D-4447875F4614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142396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Kopieren von Produkten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56031" y="1376772"/>
            <a:ext cx="7280275" cy="4244975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Selektiere das bestehende Produkt HR-Optimal im Produktstrukturexplorer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Wähle über das Kontextmenü „Neue Generation erzeugen“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e Folgegeneration 2014-01 anlegen. Alle Bausteine übernehmen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en bestehenden Produktbaustein Fahrraddiebstahldeckung kopieren und durch Glasversicherung ersetz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EB41502-7341-487C-8525-769D6305D5BD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081334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Übung Kopieren von Produk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04712CA-7993-48E9-8435-2F2DBC7A21D3}" type="datetime1">
              <a:rPr lang="de-DE" smtClean="0"/>
              <a:t>15.11.2012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116293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</Words>
  <Application>Microsoft Office PowerPoint</Application>
  <PresentationFormat>Bildschirmpräsentation (4:3)</PresentationFormat>
  <Paragraphs>53</Paragraphs>
  <Slides>5</Slides>
  <Notes>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6" baseType="lpstr">
      <vt:lpstr>Master - ConVista General </vt:lpstr>
      <vt:lpstr>Inhalt - Modellierung &amp; Produktdefinition</vt:lpstr>
      <vt:lpstr>Inhalt - Modellierung &amp; Produktdefinition</vt:lpstr>
      <vt:lpstr>Kopieren von Produkten</vt:lpstr>
      <vt:lpstr>Demo: Kopieren von Produkten</vt:lpstr>
      <vt:lpstr>Übung Kopieren von Produkten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Kuntz</cp:lastModifiedBy>
  <cp:revision>1590</cp:revision>
  <cp:lastPrinted>2012-07-27T08:00:17Z</cp:lastPrinted>
  <dcterms:created xsi:type="dcterms:W3CDTF">2005-03-22T09:36:15Z</dcterms:created>
  <dcterms:modified xsi:type="dcterms:W3CDTF">2012-11-15T22:42:50Z</dcterms:modified>
  <cp:category>Master</cp:category>
  <cp:contentStatus>RELEASED</cp:contentStatus>
</cp:coreProperties>
</file>